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4848" r:id="rId6"/>
    <p:sldId id="2147375597" r:id="rId7"/>
    <p:sldId id="2147375600" r:id="rId8"/>
    <p:sldId id="2147375601" r:id="rId9"/>
    <p:sldId id="2147375604" r:id="rId10"/>
    <p:sldId id="2147375602" r:id="rId11"/>
    <p:sldId id="1633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>
        <p:scale>
          <a:sx n="75" d="100"/>
          <a:sy n="75" d="100"/>
        </p:scale>
        <p:origin x="324" y="3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1895340"/>
            <a:ext cx="10525125" cy="2308324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Week 1 (29-Aug-2024 – 30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Introduction to Business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ccording to the International Institute of Business Analysis (IIBA), business analysis is the practice of enabling change within an organizational contex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sines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n organization that provides products or services to satisfy customer needs with the objective of making a profi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nalysi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systematic examination.</a:t>
            </a: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DLC Model (Software Development Life Cycle)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lan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volves business analysts to define requirements.</a:t>
            </a: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sign and Prototyp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Develop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st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ploy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Operations and Maintenance</a:t>
            </a:r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ocess of defining user expectations for a new or modified software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what the product does (mandatory).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Non-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how the product works (non-mandatory)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ey Lear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Never assume; always ask. This was emphasized through a team activity where we </a:t>
            </a:r>
            <a:r>
              <a:rPr lang="en-GB" sz="1200" b="0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ed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 a paper airplane.</a:t>
            </a:r>
          </a:p>
          <a:p>
            <a:pPr lvl="1">
              <a:buFont typeface="+mj-lt"/>
              <a:buAutoNum type="arabicPeriod"/>
            </a:pPr>
            <a:endParaRPr lang="en-GB" sz="12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Elicitatio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actice of researching and discovering the requirements of a system from users, customers, and other stakeholders. Also known as “requirement gathering.”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Techniqu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rainstorm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ocument Analysis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</a:t>
            </a:r>
            <a:r>
              <a:rPr lang="en-GB" sz="1100" b="1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ing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lass-Based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ta-Based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Management Technique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ork Breakdown Structure (WBS)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ssential for effective project planning, execution, controlling, monitoring, and reporting.</a:t>
            </a: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Gantt Chart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ritical Path Method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anba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Traceability</a:t>
            </a:r>
            <a:r>
              <a:rPr lang="en-GB" sz="11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: 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sures each business need is tied to an actual requirement and each requirement is tied to a deliverable.</a:t>
            </a:r>
          </a:p>
          <a:p>
            <a:pPr algn="l"/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quirements, Design, Development, Testing, Deployment, Maintenanc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Simple, easy to understand, good for small requirements, and works well when quality is more important than cost or schedul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is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Cannot go back to previous stages, customers see the product only at launch, no demos involved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en to Use the Waterfall Model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s are well-known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definition is stable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chnology is understood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veloping a new version of an existing product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orting an existing product to a new platform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Method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xamp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daptive Software Development, Feature Driven Development, Scrum, Extreme Programming, Kanban.</a:t>
            </a:r>
            <a:endParaRPr lang="en-GB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enefits of Scrum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aptability, continuous improvement, sustainable pace, motivation, faster problem resolution, customer-centric, high velocity, efficient development process.</a:t>
            </a:r>
          </a:p>
          <a:p>
            <a:pPr lvl="2"/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2-4 week period to accomplish a goa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o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Own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Mast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Team Memb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kehol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15-minute daily meeting to review progr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meeting at the end of each sprint to review achievements and plan improvements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Even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Planning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ciding what can be delivered within a sprint and what work is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progress toward the sprint goal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view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achievements at the end of each sprint and adapting the product backlog if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specting the team’s performance and creating a plan for improvements.</a:t>
            </a:r>
          </a:p>
        </p:txBody>
      </p:sp>
    </p:spTree>
    <p:extLst>
      <p:ext uri="{BB962C8B-B14F-4D97-AF65-F5344CB8AC3E}">
        <p14:creationId xmlns:p14="http://schemas.microsoft.com/office/powerpoint/2010/main" val="30789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Backlog for Planning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ject planning is based on a product backlog containing functions and technology enhanceme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eetings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decide features for the next spri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plan out the work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Queue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Uses lightweight queue-based management and work breakdown mechanisms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Sprint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basic unit of development in Scrum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ura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One week to one month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“Time-Boxed”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ffort of a constant length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tting Up Azure DevOp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tails on setting up and using Azure DevOps for project management and development.</a:t>
            </a:r>
          </a:p>
        </p:txBody>
      </p:sp>
    </p:spTree>
    <p:extLst>
      <p:ext uri="{BB962C8B-B14F-4D97-AF65-F5344CB8AC3E}">
        <p14:creationId xmlns:p14="http://schemas.microsoft.com/office/powerpoint/2010/main" val="387055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6</TotalTime>
  <Words>656</Words>
  <Application>Microsoft Office PowerPoint</Application>
  <PresentationFormat>Widescreen</PresentationFormat>
  <Paragraphs>9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Learning 4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, Hitesh SBOBNG-PTIY/AEC</cp:lastModifiedBy>
  <cp:revision>514</cp:revision>
  <dcterms:created xsi:type="dcterms:W3CDTF">2022-01-18T12:35:56Z</dcterms:created>
  <dcterms:modified xsi:type="dcterms:W3CDTF">2024-09-01T17:2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